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60" r:id="rId6"/>
    <p:sldId id="261" r:id="rId7"/>
    <p:sldId id="263" r:id="rId8"/>
    <p:sldId id="262" r:id="rId9"/>
    <p:sldId id="264" r:id="rId10"/>
    <p:sldId id="265" r:id="rId11"/>
    <p:sldId id="266" r:id="rId12"/>
    <p:sldId id="259" r:id="rId13"/>
  </p:sldIdLst>
  <p:sldSz cx="12192000" cy="6858000"/>
  <p:notesSz cx="6858000" cy="9144000"/>
  <p:defaultTextStyle>
    <a:defPPr>
      <a:defRPr lang="es-EC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89E81B-ED57-4E2C-95CC-EDF6A7724078}" v="4" dt="2022-05-09T18:22:12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75" d="100"/>
          <a:sy n="75" d="100"/>
        </p:scale>
        <p:origin x="44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1188ECC-E56B-126E-75BF-2A4541C731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CCE8FE4-696F-74D9-5AFD-286162594B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C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D9B9285-2786-D5AC-3FED-98DF532C0F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6A963C3-3724-D09B-53B1-F97C06FD1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7651874-9BEC-BFE3-117D-E767ABF34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  <p:pic>
        <p:nvPicPr>
          <p:cNvPr id="8" name="Imagen 7" descr="Texto&#10;&#10;Descripción generada automáticamente con confianza baja">
            <a:extLst>
              <a:ext uri="{FF2B5EF4-FFF2-40B4-BE49-F238E27FC236}">
                <a16:creationId xmlns:a16="http://schemas.microsoft.com/office/drawing/2014/main" id="{51B0BC51-D514-1F26-C350-BF411A948E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" y="0"/>
            <a:ext cx="121829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4961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590206-0F82-81F3-8B4E-AD3BD5F73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7AE7B6D-6D0A-F91C-4211-C0B714D035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74A3AB6-91EF-2459-E246-87DB97B49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EEEE673-AE10-FD71-1AA2-37CD34F05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E309404-6F8E-D19B-1C05-7F8115F2E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8103362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107FE4A-2FBB-49C7-4B98-A7C7F4E5E8A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35E3AA25-62D3-FC5B-CA4E-C849E5C447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8765A3-2F3E-829D-6175-B826E72897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81D82C0-E443-9C91-0496-A784F6A2F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A9961A3-2FB3-7D04-4CBC-7442F2593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7021315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BB813C-044E-E182-65B9-F90D6FD4C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892EC2A-6308-6EFD-9472-782369AA0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44CD063-F106-18BC-B46B-65036F392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FB88FAD-19D5-4CB2-1184-172AE3C35D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BA509BF-7546-CD93-1210-7DBC57151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  <p:pic>
        <p:nvPicPr>
          <p:cNvPr id="8" name="Imagen 7" descr="Imagen que contiene Texto&#10;&#10;Descripción generada automáticamente">
            <a:extLst>
              <a:ext uri="{FF2B5EF4-FFF2-40B4-BE49-F238E27FC236}">
                <a16:creationId xmlns:a16="http://schemas.microsoft.com/office/drawing/2014/main" id="{E7187A5B-AE8E-A13C-A2BD-C882F9A2B6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" y="0"/>
            <a:ext cx="121829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083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7962E9-3530-4940-9EA1-79CBBF51D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4C4032E-CB9F-1C15-4BA4-A602E81326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EC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C962A3F-2BA0-5686-CF03-C34466B7D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7AF670F-FEA2-D98A-1EAF-04C73286F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C4A9081-7BB0-6EC5-5FEC-211F842B9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  <p:pic>
        <p:nvPicPr>
          <p:cNvPr id="8" name="Imagen 7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F7BC5015-1B66-4D26-CFAE-3B3953B6D4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" y="0"/>
            <a:ext cx="121829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948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32AA71-F3AF-3FB7-CA03-815AEFDA4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45316D7-36A4-1F80-E038-70B2D65FAF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995A161-B158-2D3A-D48E-31F0C0535F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2578AA2-8A70-359B-172D-99B1D57B32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2797060-2298-9AD0-7862-6759AFBE0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4B64DDA-94E7-8281-6C75-4C1FA84F5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779186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91F979-40C7-4310-9C37-A8DB0D8AF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8F0ACD0-02FF-2C29-998B-A4B99C52F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A40BE7C-F6E7-5A53-F5D0-2B54FA68DF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8E65F6D-72AE-FBB8-8DDE-BE9F8661EB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1CE77ADA-CA94-0DA9-6AF3-37A6301B81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0559C3EA-CFF1-49AF-A305-349EC0701A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DEC43A4-38D5-B730-E44C-3C323C923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E3DCE740-CE7E-FADD-A551-3A0C36D76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4287156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E869859-28F2-A683-F97C-D1A309C05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9AFA783-D8CB-3F03-E95A-8AF5C3DFD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AE9C37D-BF50-CEB5-1072-B92264CCA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40AA68BD-4231-0F83-BE36-453FAA32A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183572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3B28A43-6278-6F7B-A364-471A6E08F9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AB21F52-B222-4111-D696-CE0DAB597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EAD489-CC2A-AD18-8FBB-64CF7B4E0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  <p:pic>
        <p:nvPicPr>
          <p:cNvPr id="6" name="Imagen 5" descr="Interfaz de usuario gráfica&#10;&#10;Descripción generada automáticamente con confianza media">
            <a:extLst>
              <a:ext uri="{FF2B5EF4-FFF2-40B4-BE49-F238E27FC236}">
                <a16:creationId xmlns:a16="http://schemas.microsoft.com/office/drawing/2014/main" id="{2F385AF6-86F2-1657-4791-21C1C7DC91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" y="0"/>
            <a:ext cx="121829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790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3C524B-7A80-D344-7AD8-DCB7941B8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E11C3B2-79BD-2D83-4E0D-11449990BC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52AF913-FB8E-C82C-4A90-BE06B62E8A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6AD19C1-BFDF-2A1F-7715-3C6BCDD63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3CC9621-D7EB-009E-B9D3-6D703AB7F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F975B33-3934-5D47-2E6D-A7BEC4EF9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902679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E555796-7CBE-A856-92F6-812462110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C7DC4EE2-66A3-20E1-9294-B9A1EA0B91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C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4698DCA-0D4D-F889-7AF7-2572184979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6BD8809-2F12-0375-0B94-CC351AB30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C81947A-9EA3-1AD6-ABC3-F54F98660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8561ED9-EFFC-CB0E-06B1-72E68E026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126564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F20B0F8A-4500-18AD-D8FF-29BC18BEE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7B87E34-EFF0-524D-DD08-F59D642190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8BAE134-EB32-C2A6-03C1-AADD1A2199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C2BE11-A45F-4069-890E-7E86AC1E35AD}" type="datetimeFigureOut">
              <a:rPr lang="es-EC" smtClean="0"/>
              <a:t>05/30/2022</a:t>
            </a:fld>
            <a:endParaRPr lang="es-EC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4328589-5C24-960D-1A61-F378D107E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C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497C5DD-59CF-A315-8F72-31BF85B6D1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866743-59B9-41D5-8760-C0663200BF21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885271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C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redondeado 11"/>
          <p:cNvSpPr/>
          <p:nvPr/>
        </p:nvSpPr>
        <p:spPr>
          <a:xfrm>
            <a:off x="4301907" y="1452667"/>
            <a:ext cx="6727371" cy="3461658"/>
          </a:xfrm>
          <a:prstGeom prst="roundRect">
            <a:avLst>
              <a:gd name="adj" fmla="val 6833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1168400" dist="38100" dir="2700000" sx="103000" sy="103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2700" dirty="0">
                <a:solidFill>
                  <a:srgbClr val="17B498"/>
                </a:solidFill>
                <a:latin typeface="Impact" panose="020B0806030902050204" pitchFamily="34" charset="0"/>
              </a:rPr>
              <a:t>Implementación Nuevo Esquema Recaudación Abierta</a:t>
            </a:r>
          </a:p>
          <a:p>
            <a:pPr algn="ctr"/>
            <a:endParaRPr lang="es-MX" sz="2700" dirty="0">
              <a:solidFill>
                <a:srgbClr val="17B498"/>
              </a:solidFill>
              <a:latin typeface="Impact" panose="020B0806030902050204" pitchFamily="34" charset="0"/>
            </a:endParaRPr>
          </a:p>
          <a:p>
            <a:pPr algn="ctr"/>
            <a:endParaRPr lang="es-MX" sz="1500" b="1" dirty="0">
              <a:solidFill>
                <a:schemeClr val="tx1"/>
              </a:solidFill>
            </a:endParaRPr>
          </a:p>
          <a:p>
            <a:pPr algn="just"/>
            <a:endParaRPr lang="es-MX" sz="135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6196632" y="3183496"/>
            <a:ext cx="2937920" cy="1169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1400" b="1" dirty="0">
                <a:solidFill>
                  <a:schemeClr val="accent3">
                    <a:lumMod val="50000"/>
                  </a:schemeClr>
                </a:solidFill>
              </a:rPr>
              <a:t>Agenda:</a:t>
            </a:r>
          </a:p>
          <a:p>
            <a:pPr marL="342900" indent="-342900">
              <a:buFont typeface="+mj-lt"/>
              <a:buAutoNum type="arabicPeriod"/>
            </a:pPr>
            <a:r>
              <a:rPr lang="es-MX" sz="1400" dirty="0">
                <a:solidFill>
                  <a:schemeClr val="accent3">
                    <a:lumMod val="50000"/>
                  </a:schemeClr>
                </a:solidFill>
              </a:rPr>
              <a:t>Antecedentes.</a:t>
            </a:r>
          </a:p>
          <a:p>
            <a:pPr marL="342900" indent="-342900">
              <a:buFont typeface="+mj-lt"/>
              <a:buAutoNum type="arabicPeriod"/>
            </a:pPr>
            <a:r>
              <a:rPr lang="es-MX" sz="1400" dirty="0">
                <a:solidFill>
                  <a:schemeClr val="accent3">
                    <a:lumMod val="50000"/>
                  </a:schemeClr>
                </a:solidFill>
              </a:rPr>
              <a:t>Diseño de la Vía Rápida</a:t>
            </a:r>
          </a:p>
          <a:p>
            <a:pPr marL="342900" indent="-342900">
              <a:buFont typeface="+mj-lt"/>
              <a:buAutoNum type="arabicPeriod"/>
            </a:pPr>
            <a:r>
              <a:rPr lang="es-MX" sz="1400" dirty="0" smtClean="0">
                <a:solidFill>
                  <a:schemeClr val="accent3">
                    <a:lumMod val="50000"/>
                  </a:schemeClr>
                </a:solidFill>
              </a:rPr>
              <a:t>Plan </a:t>
            </a:r>
            <a:r>
              <a:rPr lang="es-MX" sz="1400" dirty="0">
                <a:solidFill>
                  <a:schemeClr val="accent3">
                    <a:lumMod val="50000"/>
                  </a:schemeClr>
                </a:solidFill>
              </a:rPr>
              <a:t>y estado actual del Proyecto</a:t>
            </a:r>
          </a:p>
          <a:p>
            <a:pPr marL="342900" indent="-342900">
              <a:buFont typeface="+mj-lt"/>
              <a:buAutoNum type="arabicPeriod"/>
            </a:pPr>
            <a:r>
              <a:rPr lang="es-MX" sz="1400" dirty="0" smtClean="0">
                <a:solidFill>
                  <a:schemeClr val="accent3">
                    <a:lumMod val="50000"/>
                  </a:schemeClr>
                </a:solidFill>
              </a:rPr>
              <a:t>Informe </a:t>
            </a:r>
            <a:r>
              <a:rPr lang="es-MX" sz="1400" dirty="0">
                <a:solidFill>
                  <a:schemeClr val="accent3">
                    <a:lumMod val="50000"/>
                  </a:schemeClr>
                </a:solidFill>
              </a:rPr>
              <a:t>y Análisis QA SOAINT </a:t>
            </a:r>
          </a:p>
        </p:txBody>
      </p:sp>
    </p:spTree>
    <p:extLst>
      <p:ext uri="{BB962C8B-B14F-4D97-AF65-F5344CB8AC3E}">
        <p14:creationId xmlns:p14="http://schemas.microsoft.com/office/powerpoint/2010/main" val="2354868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4741817" y="421394"/>
            <a:ext cx="71021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>
              <a:defRPr sz="3200" b="1" i="1" spc="-150">
                <a:solidFill>
                  <a:srgbClr val="168D9A"/>
                </a:solidFill>
                <a:ea typeface="Roboto Slab" pitchFamily="2" charset="0"/>
              </a:defRPr>
            </a:lvl1pPr>
          </a:lstStyle>
          <a:p>
            <a:pPr algn="r"/>
            <a:r>
              <a:rPr lang="es-EC" i="0" dirty="0"/>
              <a:t>Antecedentes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A6B980B-CFB2-5226-CB06-590F291442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1709" y="3759981"/>
            <a:ext cx="7690135" cy="2076043"/>
          </a:xfrm>
          <a:prstGeom prst="rect">
            <a:avLst/>
          </a:prstGeom>
        </p:spPr>
      </p:pic>
      <p:sp>
        <p:nvSpPr>
          <p:cNvPr id="6" name="Rectángulo redondeado 29">
            <a:extLst>
              <a:ext uri="{FF2B5EF4-FFF2-40B4-BE49-F238E27FC236}">
                <a16:creationId xmlns:a16="http://schemas.microsoft.com/office/drawing/2014/main" id="{0D5E12CA-B1A0-A9AF-026C-D7F837163082}"/>
              </a:ext>
            </a:extLst>
          </p:cNvPr>
          <p:cNvSpPr/>
          <p:nvPr/>
        </p:nvSpPr>
        <p:spPr>
          <a:xfrm>
            <a:off x="1004756" y="1337150"/>
            <a:ext cx="8444043" cy="2091850"/>
          </a:xfrm>
          <a:prstGeom prst="roundRect">
            <a:avLst/>
          </a:prstGeom>
          <a:noFill/>
          <a:ln>
            <a:solidFill>
              <a:srgbClr val="1EE2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400" b="1" dirty="0">
                <a:solidFill>
                  <a:srgbClr val="FFC000"/>
                </a:solidFill>
                <a:latin typeface="+mj-lt"/>
              </a:rPr>
              <a:t>La ejecución de este proyecto nos permitirá:</a:t>
            </a:r>
            <a:endParaRPr lang="es-ES" sz="24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umentar la capacidad de Producción de Nuevas recaudaciones.</a:t>
            </a:r>
          </a:p>
          <a:p>
            <a:pPr marL="342900" indent="-342900">
              <a:buClr>
                <a:schemeClr val="tx1">
                  <a:lumMod val="50000"/>
                  <a:lumOff val="50000"/>
                </a:schemeClr>
              </a:buClr>
              <a:buFont typeface="+mj-lt"/>
              <a:buAutoNum type="arabicPeriod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educción del 30% del tiempo de Implementación en cada recaudación nueva.</a:t>
            </a:r>
          </a:p>
          <a:p>
            <a:pPr marL="342900" indent="-342900">
              <a:buFont typeface="+mj-lt"/>
              <a:buAutoNum type="arabicPeriod"/>
            </a:pPr>
            <a:r>
              <a:rPr lang="es-MX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ermitirá integrar a múltiples comercio y redes (Banred, RedActiva, Facilito, etc.).</a:t>
            </a:r>
          </a:p>
          <a:p>
            <a:pPr marL="342900" indent="-342900">
              <a:buFont typeface="+mj-lt"/>
              <a:buAutoNum type="arabicPeriod"/>
            </a:pPr>
            <a:r>
              <a:rPr lang="es-MX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rquitectura moderna de Microservicios, brinda escalabilidad.</a:t>
            </a:r>
          </a:p>
        </p:txBody>
      </p:sp>
    </p:spTree>
    <p:extLst>
      <p:ext uri="{BB962C8B-B14F-4D97-AF65-F5344CB8AC3E}">
        <p14:creationId xmlns:p14="http://schemas.microsoft.com/office/powerpoint/2010/main" val="2194223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7958000" y="421394"/>
            <a:ext cx="373371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C"/>
            </a:defPPr>
            <a:lvl1pPr>
              <a:defRPr sz="3200" b="1" i="1" spc="-150">
                <a:solidFill>
                  <a:srgbClr val="168D9A"/>
                </a:solidFill>
                <a:ea typeface="Roboto Slab" pitchFamily="2" charset="0"/>
              </a:defRPr>
            </a:lvl1pPr>
          </a:lstStyle>
          <a:p>
            <a:pPr algn="r"/>
            <a:r>
              <a:rPr lang="es-EC" i="0" dirty="0">
                <a:solidFill>
                  <a:srgbClr val="009999"/>
                </a:solidFill>
              </a:rPr>
              <a:t>Diseño de la Vía Rápida</a:t>
            </a:r>
            <a:endParaRPr lang="es-EC" i="0" dirty="0"/>
          </a:p>
        </p:txBody>
      </p:sp>
      <p:pic>
        <p:nvPicPr>
          <p:cNvPr id="3" name="Imagen 2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DCE5910D-FC93-D74F-8A4E-047B46FDB5F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891"/>
          <a:stretch/>
        </p:blipFill>
        <p:spPr>
          <a:xfrm>
            <a:off x="1642297" y="516117"/>
            <a:ext cx="7407573" cy="5887053"/>
          </a:xfrm>
          <a:prstGeom prst="rect">
            <a:avLst/>
          </a:prstGeom>
        </p:spPr>
      </p:pic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DCE5910D-FC93-D74F-8A4E-047B46FDB5F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545"/>
          <a:stretch/>
        </p:blipFill>
        <p:spPr>
          <a:xfrm>
            <a:off x="9505445" y="1006169"/>
            <a:ext cx="2186270" cy="4604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406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741817" y="421394"/>
            <a:ext cx="71021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>
              <a:defRPr sz="3200" b="1" i="1" spc="-150">
                <a:solidFill>
                  <a:srgbClr val="168D9A"/>
                </a:solidFill>
                <a:ea typeface="Roboto Slab" pitchFamily="2" charset="0"/>
              </a:defRPr>
            </a:lvl1pPr>
          </a:lstStyle>
          <a:p>
            <a:pPr algn="r"/>
            <a:r>
              <a:rPr lang="es-EC" i="0" dirty="0">
                <a:solidFill>
                  <a:srgbClr val="009999"/>
                </a:solidFill>
              </a:rPr>
              <a:t>Plan y estado actual del Proyecto</a:t>
            </a:r>
            <a:endParaRPr lang="es-EC" i="0" dirty="0"/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32008FB1-7B24-6245-5234-2B76DCD2B6E0}"/>
              </a:ext>
            </a:extLst>
          </p:cNvPr>
          <p:cNvGrpSpPr/>
          <p:nvPr/>
        </p:nvGrpSpPr>
        <p:grpSpPr>
          <a:xfrm>
            <a:off x="768625" y="1138691"/>
            <a:ext cx="10018643" cy="4095918"/>
            <a:chOff x="768625" y="1138691"/>
            <a:chExt cx="10018643" cy="4095918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463962DD-F04C-3FD6-3915-7221FA6C21F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68625" y="1138691"/>
              <a:ext cx="10018643" cy="4095918"/>
            </a:xfrm>
            <a:prstGeom prst="rect">
              <a:avLst/>
            </a:prstGeom>
          </p:spPr>
        </p:pic>
        <p:sp>
          <p:nvSpPr>
            <p:cNvPr id="5" name="Rectángulo: esquinas redondeadas 3">
              <a:extLst>
                <a:ext uri="{FF2B5EF4-FFF2-40B4-BE49-F238E27FC236}">
                  <a16:creationId xmlns:a16="http://schemas.microsoft.com/office/drawing/2014/main" id="{B36D6327-57ED-3CF1-2974-0302870B6CCD}"/>
                </a:ext>
              </a:extLst>
            </p:cNvPr>
            <p:cNvSpPr/>
            <p:nvPr/>
          </p:nvSpPr>
          <p:spPr>
            <a:xfrm>
              <a:off x="4125806" y="1497496"/>
              <a:ext cx="1681313" cy="3578087"/>
            </a:xfrm>
            <a:prstGeom prst="roundRect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33 Flecha a la derecha con bandas">
            <a:extLst>
              <a:ext uri="{FF2B5EF4-FFF2-40B4-BE49-F238E27FC236}">
                <a16:creationId xmlns:a16="http://schemas.microsoft.com/office/drawing/2014/main" id="{2A947DCC-23F5-5B0E-F6BF-2C39A426778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45241" y="5367131"/>
            <a:ext cx="4223941" cy="731635"/>
          </a:xfrm>
          <a:prstGeom prst="stripedRightArrow">
            <a:avLst/>
          </a:prstGeom>
          <a:solidFill>
            <a:srgbClr val="008996"/>
          </a:soli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MX" sz="1200" kern="0" dirty="0">
                <a:solidFill>
                  <a:schemeClr val="tx1"/>
                </a:solidFill>
                <a:latin typeface="Calibri"/>
                <a:sym typeface="Gill Sans"/>
              </a:rPr>
              <a:t>                                       </a:t>
            </a:r>
            <a:r>
              <a:rPr lang="es-MX" sz="1200" kern="0" dirty="0">
                <a:solidFill>
                  <a:schemeClr val="tx1"/>
                </a:solidFill>
                <a:sym typeface="Gill Sans"/>
              </a:rPr>
              <a:t>               </a:t>
            </a:r>
            <a:endParaRPr lang="es-MX" kern="0" dirty="0">
              <a:solidFill>
                <a:schemeClr val="tx1"/>
              </a:solidFill>
              <a:sym typeface="Gill Sans"/>
            </a:endParaRPr>
          </a:p>
          <a:p>
            <a:pPr>
              <a:defRPr/>
            </a:pPr>
            <a:r>
              <a:rPr lang="es-MX" sz="1200" kern="0" dirty="0">
                <a:solidFill>
                  <a:schemeClr val="tx1"/>
                </a:solidFill>
                <a:latin typeface="Calibri"/>
                <a:sym typeface="Gill Sans"/>
              </a:rPr>
              <a:t> </a:t>
            </a:r>
            <a:endParaRPr lang="es-MX" kern="0" dirty="0">
              <a:solidFill>
                <a:schemeClr val="tx1"/>
              </a:solidFill>
              <a:latin typeface="Calibri"/>
              <a:sym typeface="Gill Sans"/>
            </a:endParaRP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2E87532D-26FB-B241-6234-E5F5439E00C2}"/>
              </a:ext>
            </a:extLst>
          </p:cNvPr>
          <p:cNvSpPr txBox="1"/>
          <p:nvPr/>
        </p:nvSpPr>
        <p:spPr>
          <a:xfrm>
            <a:off x="1655244" y="5959709"/>
            <a:ext cx="4485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dirty="0"/>
              <a:t>25%</a:t>
            </a:r>
          </a:p>
        </p:txBody>
      </p:sp>
      <p:sp>
        <p:nvSpPr>
          <p:cNvPr id="8" name="TextBox 74">
            <a:extLst>
              <a:ext uri="{FF2B5EF4-FFF2-40B4-BE49-F238E27FC236}">
                <a16:creationId xmlns:a16="http://schemas.microsoft.com/office/drawing/2014/main" id="{C0C87822-A9CE-CB52-6C65-3F5D5AB6D267}"/>
              </a:ext>
            </a:extLst>
          </p:cNvPr>
          <p:cNvSpPr txBox="1"/>
          <p:nvPr/>
        </p:nvSpPr>
        <p:spPr>
          <a:xfrm>
            <a:off x="768625" y="5966989"/>
            <a:ext cx="37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dirty="0"/>
              <a:t>0%</a:t>
            </a:r>
          </a:p>
        </p:txBody>
      </p:sp>
      <p:sp>
        <p:nvSpPr>
          <p:cNvPr id="9" name="TextBox 75">
            <a:extLst>
              <a:ext uri="{FF2B5EF4-FFF2-40B4-BE49-F238E27FC236}">
                <a16:creationId xmlns:a16="http://schemas.microsoft.com/office/drawing/2014/main" id="{748378DF-70D7-4546-9035-F96337FD9851}"/>
              </a:ext>
            </a:extLst>
          </p:cNvPr>
          <p:cNvSpPr txBox="1"/>
          <p:nvPr/>
        </p:nvSpPr>
        <p:spPr>
          <a:xfrm>
            <a:off x="2497880" y="5974546"/>
            <a:ext cx="4485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dirty="0"/>
              <a:t>50%</a:t>
            </a:r>
          </a:p>
        </p:txBody>
      </p:sp>
      <p:sp>
        <p:nvSpPr>
          <p:cNvPr id="10" name="TextBox 76">
            <a:extLst>
              <a:ext uri="{FF2B5EF4-FFF2-40B4-BE49-F238E27FC236}">
                <a16:creationId xmlns:a16="http://schemas.microsoft.com/office/drawing/2014/main" id="{376FBC83-7FDC-A0FD-D3F7-117F3E19A548}"/>
              </a:ext>
            </a:extLst>
          </p:cNvPr>
          <p:cNvSpPr txBox="1"/>
          <p:nvPr/>
        </p:nvSpPr>
        <p:spPr>
          <a:xfrm>
            <a:off x="4125807" y="5959710"/>
            <a:ext cx="5177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dirty="0"/>
              <a:t>100%</a:t>
            </a:r>
          </a:p>
        </p:txBody>
      </p:sp>
      <p:sp>
        <p:nvSpPr>
          <p:cNvPr id="11" name="TextBox 78">
            <a:extLst>
              <a:ext uri="{FF2B5EF4-FFF2-40B4-BE49-F238E27FC236}">
                <a16:creationId xmlns:a16="http://schemas.microsoft.com/office/drawing/2014/main" id="{CD2FB79F-3D7A-928C-E19E-6D29F9C23920}"/>
              </a:ext>
            </a:extLst>
          </p:cNvPr>
          <p:cNvSpPr txBox="1"/>
          <p:nvPr/>
        </p:nvSpPr>
        <p:spPr>
          <a:xfrm>
            <a:off x="3271543" y="5973544"/>
            <a:ext cx="4485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dirty="0"/>
              <a:t>75%</a:t>
            </a:r>
          </a:p>
        </p:txBody>
      </p:sp>
      <p:sp>
        <p:nvSpPr>
          <p:cNvPr id="12" name="193 Rectángulo">
            <a:extLst>
              <a:ext uri="{FF2B5EF4-FFF2-40B4-BE49-F238E27FC236}">
                <a16:creationId xmlns:a16="http://schemas.microsoft.com/office/drawing/2014/main" id="{68B5CA39-B33A-B3A2-7E1D-2F5465F6391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00681" y="5590784"/>
            <a:ext cx="658769" cy="382760"/>
          </a:xfrm>
          <a:prstGeom prst="rect">
            <a:avLst/>
          </a:prstGeom>
          <a:solidFill>
            <a:srgbClr val="FFFF00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2800" u="sng">
              <a:solidFill>
                <a:srgbClr val="FFFF00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13" name="194 Rectángulo">
            <a:extLst>
              <a:ext uri="{FF2B5EF4-FFF2-40B4-BE49-F238E27FC236}">
                <a16:creationId xmlns:a16="http://schemas.microsoft.com/office/drawing/2014/main" id="{E874E5C1-3F47-C8D4-EC94-ED35C5DCEA9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flipV="1">
            <a:off x="1000681" y="5594166"/>
            <a:ext cx="640080" cy="216620"/>
          </a:xfrm>
          <a:prstGeom prst="rect">
            <a:avLst/>
          </a:prstGeom>
          <a:solidFill>
            <a:srgbClr val="14B498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2800" u="sng" dirty="0">
              <a:solidFill>
                <a:srgbClr val="FFFF00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56E1357-E109-F200-2360-1892F600EA76}"/>
              </a:ext>
            </a:extLst>
          </p:cNvPr>
          <p:cNvSpPr txBox="1"/>
          <p:nvPr/>
        </p:nvSpPr>
        <p:spPr>
          <a:xfrm>
            <a:off x="1077729" y="5634990"/>
            <a:ext cx="6269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+mj-lt"/>
              </a:rPr>
              <a:t>17%  </a:t>
            </a:r>
          </a:p>
        </p:txBody>
      </p:sp>
      <p:sp>
        <p:nvSpPr>
          <p:cNvPr id="15" name="Rectangle 45">
            <a:extLst>
              <a:ext uri="{FF2B5EF4-FFF2-40B4-BE49-F238E27FC236}">
                <a16:creationId xmlns:a16="http://schemas.microsoft.com/office/drawing/2014/main" id="{FAF13A45-D003-7386-3A19-4F27D374B6D2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82686" y="5604155"/>
            <a:ext cx="233424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84150" lvl="1" indent="-182563" defTabSz="912813" fontAlgn="base">
              <a:spcBef>
                <a:spcPct val="20000"/>
              </a:spcBef>
              <a:spcAft>
                <a:spcPct val="0"/>
              </a:spcAft>
              <a:buClr>
                <a:srgbClr val="61B8CD"/>
              </a:buClr>
              <a:buSzPct val="80000"/>
            </a:pPr>
            <a:r>
              <a:rPr lang="es-MX" sz="1000" b="1" dirty="0">
                <a:latin typeface="Telefonica Headline Light" pitchFamily="2" charset="0"/>
                <a:ea typeface="Arial Unicode MS" pitchFamily="34" charset="-128"/>
                <a:cs typeface="Arial Unicode MS" pitchFamily="34" charset="-128"/>
                <a:sym typeface="Gill Sans"/>
              </a:rPr>
              <a:t>Avance Real            </a:t>
            </a:r>
            <a:endParaRPr lang="es-MX" sz="1000" b="1" u="sng" dirty="0">
              <a:latin typeface="Telefonica Headline Light" pitchFamily="2" charset="0"/>
              <a:ea typeface="Arial Unicode MS" pitchFamily="34" charset="-128"/>
              <a:cs typeface="Arial Unicode MS" pitchFamily="34" charset="-128"/>
              <a:sym typeface="Gill Sans"/>
            </a:endParaRPr>
          </a:p>
        </p:txBody>
      </p:sp>
      <p:sp>
        <p:nvSpPr>
          <p:cNvPr id="16" name="Rectangle 45">
            <a:extLst>
              <a:ext uri="{FF2B5EF4-FFF2-40B4-BE49-F238E27FC236}">
                <a16:creationId xmlns:a16="http://schemas.microsoft.com/office/drawing/2014/main" id="{BC77BEAA-5FE1-F4BF-B590-E34F86A4177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82686" y="5810787"/>
            <a:ext cx="253501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84150" lvl="1" indent="-182563" defTabSz="912813" fontAlgn="base">
              <a:spcBef>
                <a:spcPct val="20000"/>
              </a:spcBef>
              <a:spcAft>
                <a:spcPct val="0"/>
              </a:spcAft>
              <a:buClr>
                <a:srgbClr val="61B8CD"/>
              </a:buClr>
              <a:buSzPct val="80000"/>
            </a:pPr>
            <a:r>
              <a:rPr lang="es-MX" sz="1000" b="1" dirty="0">
                <a:latin typeface="Telefonica Headline Light" pitchFamily="2" charset="0"/>
                <a:ea typeface="Arial Unicode MS" pitchFamily="34" charset="-128"/>
                <a:cs typeface="Arial Unicode MS" pitchFamily="34" charset="-128"/>
                <a:sym typeface="Gill Sans"/>
              </a:rPr>
              <a:t>Avance Planeado   </a:t>
            </a:r>
            <a:endParaRPr lang="es-MX" sz="1000" b="1" u="sng" dirty="0">
              <a:latin typeface="Telefonica Headline Light" pitchFamily="2" charset="0"/>
              <a:ea typeface="Arial Unicode MS" pitchFamily="34" charset="-128"/>
              <a:cs typeface="Arial Unicode MS" pitchFamily="34" charset="-128"/>
              <a:sym typeface="Gill Sans"/>
            </a:endParaRPr>
          </a:p>
        </p:txBody>
      </p:sp>
      <p:sp>
        <p:nvSpPr>
          <p:cNvPr id="17" name="188 Rectángulo">
            <a:extLst>
              <a:ext uri="{FF2B5EF4-FFF2-40B4-BE49-F238E27FC236}">
                <a16:creationId xmlns:a16="http://schemas.microsoft.com/office/drawing/2014/main" id="{9D46DC29-F80E-C425-7577-BAB7359F04D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639084" y="5596154"/>
            <a:ext cx="160423" cy="157834"/>
          </a:xfrm>
          <a:prstGeom prst="rect">
            <a:avLst/>
          </a:prstGeom>
          <a:solidFill>
            <a:srgbClr val="14B498"/>
          </a:solidFill>
          <a:ln>
            <a:solidFill>
              <a:srgbClr val="4BA57E"/>
            </a:solidFill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2800" u="sng">
              <a:solidFill>
                <a:srgbClr val="FFFF00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18" name="165 Rectángulo">
            <a:extLst>
              <a:ext uri="{FF2B5EF4-FFF2-40B4-BE49-F238E27FC236}">
                <a16:creationId xmlns:a16="http://schemas.microsoft.com/office/drawing/2014/main" id="{760F8485-B994-5C99-F6FE-326E692C18C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646697" y="5815710"/>
            <a:ext cx="160423" cy="157834"/>
          </a:xfrm>
          <a:prstGeom prst="rect">
            <a:avLst/>
          </a:prstGeom>
          <a:solidFill>
            <a:schemeClr val="accent4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2800" u="sng">
              <a:solidFill>
                <a:prstClr val="white"/>
              </a:solidFill>
              <a:ea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9667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3750366" y="478485"/>
            <a:ext cx="81377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>
              <a:defRPr sz="3200" b="1" i="1" spc="-150">
                <a:solidFill>
                  <a:srgbClr val="168D9A"/>
                </a:solidFill>
                <a:ea typeface="Roboto Slab" pitchFamily="2" charset="0"/>
              </a:defRPr>
            </a:lvl1pPr>
          </a:lstStyle>
          <a:p>
            <a:pPr algn="r"/>
            <a:r>
              <a:rPr lang="es-MX" i="0" dirty="0">
                <a:solidFill>
                  <a:srgbClr val="009999"/>
                </a:solidFill>
              </a:rPr>
              <a:t>Informe y Análisis QA SOAINT</a:t>
            </a:r>
          </a:p>
        </p:txBody>
      </p:sp>
      <p:sp>
        <p:nvSpPr>
          <p:cNvPr id="3" name="Rectángulo 2"/>
          <p:cNvSpPr/>
          <p:nvPr/>
        </p:nvSpPr>
        <p:spPr>
          <a:xfrm>
            <a:off x="1102660" y="770872"/>
            <a:ext cx="10932458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C000"/>
              </a:buClr>
            </a:pPr>
            <a:r>
              <a:rPr lang="es-ES" sz="2000" b="1" dirty="0">
                <a:solidFill>
                  <a:srgbClr val="1CB498"/>
                </a:solidFill>
              </a:rPr>
              <a:t>Recomendaciones</a:t>
            </a:r>
          </a:p>
          <a:p>
            <a:pPr>
              <a:buClr>
                <a:srgbClr val="FFC000"/>
              </a:buClr>
            </a:pPr>
            <a:endParaRPr lang="es-ES" sz="1600" b="1" dirty="0">
              <a:solidFill>
                <a:srgbClr val="1CB498"/>
              </a:solidFill>
            </a:endParaRPr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s-ES" sz="1600" b="1" dirty="0"/>
              <a:t>Alta Disponibilidad</a:t>
            </a:r>
          </a:p>
          <a:p>
            <a:pPr lvl="1">
              <a:buClr>
                <a:srgbClr val="FFC000"/>
              </a:buClr>
            </a:pP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Message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Boker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: se recomienda implementar alta disponibilidad, o  utilizar solución open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source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 como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Cloudevents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 o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RabbitMQ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 en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standalone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 o dentro de infraestructura de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openshift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  <a:p>
            <a:pPr lvl="1">
              <a:buClr>
                <a:srgbClr val="FFC000"/>
              </a:buClr>
            </a:pPr>
            <a:endParaRPr lang="es-ES" sz="1600" dirty="0"/>
          </a:p>
          <a:p>
            <a:pPr lvl="1">
              <a:buClr>
                <a:srgbClr val="FFC000"/>
              </a:buClr>
            </a:pP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BB: Agregar alta disponibilidad en el manejador de colas elevan significativamente los costes en la infraestructura </a:t>
            </a:r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es-ES" sz="1600" dirty="0"/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s-ES" sz="1600" b="1" dirty="0"/>
              <a:t>Base de Datos</a:t>
            </a:r>
          </a:p>
          <a:p>
            <a:pPr marL="444500" indent="-444500">
              <a:buClr>
                <a:srgbClr val="FFC000"/>
              </a:buClr>
            </a:pPr>
            <a:r>
              <a:rPr lang="es-ES" sz="1600" dirty="0"/>
              <a:t>	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Paquete Base de Datos, Se recomienda desacoplar la lógica del negocio a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microservicios</a:t>
            </a:r>
            <a:endParaRPr lang="es-E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444500" indent="-444500">
              <a:buClr>
                <a:srgbClr val="FFC000"/>
              </a:buClr>
            </a:pPr>
            <a:endParaRPr lang="es-ES" sz="1600" dirty="0"/>
          </a:p>
          <a:p>
            <a:pPr marL="444500" indent="-444500">
              <a:buClr>
                <a:srgbClr val="FFC000"/>
              </a:buClr>
            </a:pPr>
            <a:r>
              <a:rPr lang="es-ES" sz="1600" b="1" dirty="0" smtClean="0">
                <a:solidFill>
                  <a:schemeClr val="accent6">
                    <a:lumMod val="75000"/>
                  </a:schemeClr>
                </a:solidFill>
              </a:rPr>
              <a:t>          BB: Le 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hemos dado acogida de la siguiente manera: se ha creado SP nuevos genéricos. Es inevitable el uso de SP, ya que desde </a:t>
            </a:r>
            <a:r>
              <a:rPr lang="es-ES" sz="1600" b="1" dirty="0" err="1">
                <a:solidFill>
                  <a:schemeClr val="accent6">
                    <a:lumMod val="75000"/>
                  </a:schemeClr>
                </a:solidFill>
              </a:rPr>
              <a:t>Microservicio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 no se pueden invocar operaciones directa a la base.</a:t>
            </a:r>
          </a:p>
          <a:p>
            <a:pPr marL="444500" indent="-444500">
              <a:buClr>
                <a:srgbClr val="FFC000"/>
              </a:buClr>
            </a:pPr>
            <a:endParaRPr lang="es-ES" sz="1600" dirty="0"/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es-ES" sz="1600" dirty="0"/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s-ES" sz="1600" b="1" dirty="0"/>
              <a:t>Integración con proveedores</a:t>
            </a:r>
          </a:p>
          <a:p>
            <a:pPr marL="444500">
              <a:buClr>
                <a:srgbClr val="FFC000"/>
              </a:buClr>
            </a:pP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Se recomienda un único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microservicio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 tipo proxy, para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enrutar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 a cada uno de los servicios expuestos por los proveedores</a:t>
            </a:r>
          </a:p>
          <a:p>
            <a:pPr marL="444500">
              <a:buClr>
                <a:srgbClr val="FFC000"/>
              </a:buClr>
            </a:pPr>
            <a:endParaRPr lang="es-ES" sz="1600" dirty="0"/>
          </a:p>
          <a:p>
            <a:pPr marL="444500">
              <a:buClr>
                <a:srgbClr val="FFC000"/>
              </a:buClr>
            </a:pPr>
            <a:r>
              <a:rPr lang="es-ES" sz="1600" b="1" dirty="0" smtClean="0">
                <a:solidFill>
                  <a:schemeClr val="accent6">
                    <a:lumMod val="75000"/>
                  </a:schemeClr>
                </a:solidFill>
              </a:rPr>
              <a:t>BB: Existe 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el riesgo latente que un proveedor presente fallas en su servicio o su volumen de </a:t>
            </a:r>
            <a:r>
              <a:rPr lang="es-ES" sz="1600" b="1" dirty="0" err="1">
                <a:solidFill>
                  <a:schemeClr val="accent6">
                    <a:lumMod val="75000"/>
                  </a:schemeClr>
                </a:solidFill>
              </a:rPr>
              <a:t>transaccionalidad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 sea muy elevada que degrade el rendimiento del </a:t>
            </a:r>
            <a:r>
              <a:rPr lang="es-ES" sz="1600" b="1" dirty="0" err="1">
                <a:solidFill>
                  <a:schemeClr val="accent6">
                    <a:lumMod val="75000"/>
                  </a:schemeClr>
                </a:solidFill>
              </a:rPr>
              <a:t>microservidio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, afectando a las demás recaudaciones </a:t>
            </a:r>
          </a:p>
        </p:txBody>
      </p:sp>
    </p:spTree>
    <p:extLst>
      <p:ext uri="{BB962C8B-B14F-4D97-AF65-F5344CB8AC3E}">
        <p14:creationId xmlns:p14="http://schemas.microsoft.com/office/powerpoint/2010/main" val="188552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3750366" y="478485"/>
            <a:ext cx="81377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>
              <a:defRPr sz="3200" b="1" i="1" spc="-150">
                <a:solidFill>
                  <a:srgbClr val="168D9A"/>
                </a:solidFill>
                <a:ea typeface="Roboto Slab" pitchFamily="2" charset="0"/>
              </a:defRPr>
            </a:lvl1pPr>
          </a:lstStyle>
          <a:p>
            <a:pPr algn="r"/>
            <a:r>
              <a:rPr lang="es-MX" i="0" dirty="0">
                <a:solidFill>
                  <a:srgbClr val="009999"/>
                </a:solidFill>
              </a:rPr>
              <a:t>Informe y Análisis QA SOAINT</a:t>
            </a:r>
          </a:p>
        </p:txBody>
      </p:sp>
      <p:sp>
        <p:nvSpPr>
          <p:cNvPr id="4" name="Rectángulo 3"/>
          <p:cNvSpPr/>
          <p:nvPr/>
        </p:nvSpPr>
        <p:spPr>
          <a:xfrm>
            <a:off x="1184835" y="770872"/>
            <a:ext cx="10528300" cy="5239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C000"/>
              </a:buClr>
            </a:pPr>
            <a:r>
              <a:rPr lang="es-ES" sz="2000" b="1" dirty="0">
                <a:solidFill>
                  <a:srgbClr val="1CB498"/>
                </a:solidFill>
              </a:rPr>
              <a:t>Recomendaciones</a:t>
            </a:r>
          </a:p>
          <a:p>
            <a:pPr>
              <a:buClr>
                <a:srgbClr val="FFC000"/>
              </a:buClr>
            </a:pPr>
            <a:endParaRPr lang="es-ES" sz="1600" b="1" dirty="0">
              <a:solidFill>
                <a:srgbClr val="1CB498"/>
              </a:solidFill>
            </a:endParaRPr>
          </a:p>
          <a:p>
            <a:pPr marL="444500">
              <a:buClr>
                <a:srgbClr val="FFC000"/>
              </a:buClr>
            </a:pPr>
            <a:endParaRPr lang="es-ES" sz="1600" dirty="0"/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s-ES" sz="1600" b="1" dirty="0" smtClean="0"/>
              <a:t>Diagramas</a:t>
            </a:r>
            <a:endParaRPr lang="es-ES" sz="1600" b="1" dirty="0"/>
          </a:p>
          <a:p>
            <a:pPr>
              <a:buClr>
                <a:srgbClr val="FFC000"/>
              </a:buClr>
              <a:tabLst>
                <a:tab pos="444500" algn="l"/>
              </a:tabLst>
            </a:pPr>
            <a:r>
              <a:rPr lang="es-ES" sz="1600" dirty="0"/>
              <a:t>	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Se recomienda elaborar Diagramas de Despliegue, Procesos y Dependencias</a:t>
            </a:r>
          </a:p>
          <a:p>
            <a:pPr>
              <a:buClr>
                <a:srgbClr val="FFC000"/>
              </a:buClr>
              <a:tabLst>
                <a:tab pos="444500" algn="l"/>
              </a:tabLst>
            </a:pPr>
            <a:endParaRPr lang="es-ES" sz="1600" dirty="0" smtClean="0"/>
          </a:p>
          <a:p>
            <a:pPr>
              <a:buClr>
                <a:srgbClr val="FFC000"/>
              </a:buClr>
              <a:tabLst>
                <a:tab pos="444500" algn="l"/>
              </a:tabLst>
            </a:pPr>
            <a:r>
              <a:rPr lang="es-ES" sz="1600" dirty="0"/>
              <a:t>	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BB: Se están elaborando los diagramas solicitados en conjunto con ARQ y Proveedor</a:t>
            </a:r>
          </a:p>
          <a:p>
            <a:pPr>
              <a:buClr>
                <a:srgbClr val="FFC000"/>
              </a:buClr>
              <a:tabLst>
                <a:tab pos="444500" algn="l"/>
              </a:tabLst>
            </a:pPr>
            <a:endParaRPr lang="es-ES" sz="1600" dirty="0"/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es-ES" sz="1600" dirty="0"/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s-ES" sz="1600" b="1" dirty="0"/>
              <a:t>Patrón de Diseño</a:t>
            </a:r>
          </a:p>
          <a:p>
            <a:pPr>
              <a:buClr>
                <a:srgbClr val="FFC000"/>
              </a:buClr>
              <a:tabLst>
                <a:tab pos="444500" algn="l"/>
              </a:tabLst>
            </a:pPr>
            <a:r>
              <a:rPr lang="es-ES" sz="1600" dirty="0"/>
              <a:t>	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Se recomienda aplicar la metodología “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twelve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-factor app” </a:t>
            </a:r>
            <a:endParaRPr lang="es-ES" sz="16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buClr>
                <a:srgbClr val="FFC000"/>
              </a:buClr>
              <a:tabLst>
                <a:tab pos="444500" algn="l"/>
              </a:tabLst>
            </a:pPr>
            <a:endParaRPr lang="es-E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444500">
              <a:buClr>
                <a:srgbClr val="FFC000"/>
              </a:buClr>
              <a:tabLst>
                <a:tab pos="444500" algn="l"/>
              </a:tabLst>
            </a:pPr>
            <a:r>
              <a:rPr lang="es-ES" sz="1600" b="1" dirty="0" smtClean="0">
                <a:solidFill>
                  <a:schemeClr val="accent6">
                    <a:lumMod val="75000"/>
                  </a:schemeClr>
                </a:solidFill>
              </a:rPr>
              <a:t>BB: Los 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desarrollos de los </a:t>
            </a:r>
            <a:r>
              <a:rPr lang="es-ES" sz="1600" b="1" dirty="0" err="1">
                <a:solidFill>
                  <a:schemeClr val="accent6">
                    <a:lumMod val="75000"/>
                  </a:schemeClr>
                </a:solidFill>
              </a:rPr>
              <a:t>microservicios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 se diseñan bajo el patrón </a:t>
            </a:r>
            <a:r>
              <a:rPr lang="es-ES" sz="1600" b="1" dirty="0" err="1">
                <a:solidFill>
                  <a:schemeClr val="accent6">
                    <a:lumMod val="75000"/>
                  </a:schemeClr>
                </a:solidFill>
              </a:rPr>
              <a:t>the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6">
                    <a:lumMod val="75000"/>
                  </a:schemeClr>
                </a:solidFill>
              </a:rPr>
              <a:t>twelve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-factor app</a:t>
            </a:r>
          </a:p>
          <a:p>
            <a:pPr>
              <a:buClr>
                <a:srgbClr val="FFC000"/>
              </a:buClr>
              <a:tabLst>
                <a:tab pos="444500" algn="l"/>
              </a:tabLst>
            </a:pPr>
            <a:endParaRPr lang="es-ES" sz="1600" dirty="0"/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es-ES" sz="1600" dirty="0"/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s-ES" sz="1600" b="1" dirty="0"/>
              <a:t>Seguridad</a:t>
            </a:r>
          </a:p>
          <a:p>
            <a:pPr>
              <a:buClr>
                <a:srgbClr val="FFC000"/>
              </a:buClr>
              <a:tabLst>
                <a:tab pos="268288" algn="l"/>
              </a:tabLst>
            </a:pPr>
            <a:r>
              <a:rPr lang="es-ES" sz="1600" dirty="0"/>
              <a:t>	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Identificar puertos y protocolos, usar conexiones seguras como https,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mqtt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</a:rPr>
              <a:t>amqp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s-ES" sz="1600" dirty="0" err="1" smtClean="0">
                <a:solidFill>
                  <a:schemeClr val="accent1">
                    <a:lumMod val="50000"/>
                  </a:schemeClr>
                </a:solidFill>
              </a:rPr>
              <a:t>etc</a:t>
            </a:r>
            <a:endParaRPr lang="es-ES" sz="16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buClr>
                <a:srgbClr val="FFC000"/>
              </a:buClr>
              <a:tabLst>
                <a:tab pos="268288" algn="l"/>
              </a:tabLst>
            </a:pPr>
            <a:endParaRPr lang="es-ES" sz="1600" dirty="0">
              <a:solidFill>
                <a:schemeClr val="accent1">
                  <a:lumMod val="50000"/>
                </a:schemeClr>
              </a:solidFill>
            </a:endParaRPr>
          </a:p>
          <a:p>
            <a:pPr indent="268288">
              <a:buClr>
                <a:srgbClr val="FFC000"/>
              </a:buClr>
              <a:tabLst>
                <a:tab pos="268288" algn="l"/>
              </a:tabLst>
            </a:pPr>
            <a:r>
              <a:rPr lang="es-ES" sz="1600" b="1" dirty="0" smtClean="0">
                <a:solidFill>
                  <a:schemeClr val="accent6">
                    <a:lumMod val="75000"/>
                  </a:schemeClr>
                </a:solidFill>
              </a:rPr>
              <a:t>BB: Actualmente 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</a:rPr>
              <a:t>usamos conexiones seguras para la conexión entre aplicaciones </a:t>
            </a:r>
          </a:p>
          <a:p>
            <a:pPr>
              <a:buClr>
                <a:srgbClr val="FFC000"/>
              </a:buClr>
              <a:tabLst>
                <a:tab pos="268288" algn="l"/>
              </a:tabLst>
            </a:pPr>
            <a:endParaRPr lang="es-ES" sz="1600" dirty="0"/>
          </a:p>
          <a:p>
            <a:pPr marL="285750" indent="-285750"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es-ES" sz="10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065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71 Conector recto"/>
          <p:cNvCxnSpPr/>
          <p:nvPr/>
        </p:nvCxnSpPr>
        <p:spPr>
          <a:xfrm flipH="1">
            <a:off x="5541815" y="1406634"/>
            <a:ext cx="83128" cy="3869353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o 6"/>
          <p:cNvGrpSpPr/>
          <p:nvPr/>
        </p:nvGrpSpPr>
        <p:grpSpPr>
          <a:xfrm>
            <a:off x="6283208" y="1259903"/>
            <a:ext cx="5189392" cy="4016085"/>
            <a:chOff x="6327498" y="1546200"/>
            <a:chExt cx="4555626" cy="3483799"/>
          </a:xfrm>
        </p:grpSpPr>
        <p:grpSp>
          <p:nvGrpSpPr>
            <p:cNvPr id="8" name="Grupo 7"/>
            <p:cNvGrpSpPr/>
            <p:nvPr/>
          </p:nvGrpSpPr>
          <p:grpSpPr>
            <a:xfrm>
              <a:off x="6327498" y="1546200"/>
              <a:ext cx="4206747" cy="3483799"/>
              <a:chOff x="1115889" y="1944623"/>
              <a:chExt cx="4206747" cy="3578604"/>
            </a:xfrm>
          </p:grpSpPr>
          <p:sp>
            <p:nvSpPr>
              <p:cNvPr id="10" name="Rectángulo redondeado 9"/>
              <p:cNvSpPr/>
              <p:nvPr/>
            </p:nvSpPr>
            <p:spPr>
              <a:xfrm>
                <a:off x="1115889" y="1944623"/>
                <a:ext cx="4176464" cy="3578604"/>
              </a:xfrm>
              <a:prstGeom prst="roundRect">
                <a:avLst/>
              </a:prstGeom>
              <a:ln>
                <a:solidFill>
                  <a:srgbClr val="17B498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C" sz="1600"/>
              </a:p>
            </p:txBody>
          </p:sp>
          <p:sp>
            <p:nvSpPr>
              <p:cNvPr id="11" name="Rectángulo redondeado 10"/>
              <p:cNvSpPr/>
              <p:nvPr/>
            </p:nvSpPr>
            <p:spPr>
              <a:xfrm>
                <a:off x="1115889" y="2431145"/>
                <a:ext cx="4206747" cy="2736305"/>
              </a:xfrm>
              <a:prstGeom prst="round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C" sz="1600"/>
              </a:p>
            </p:txBody>
          </p:sp>
        </p:grpSp>
        <p:sp>
          <p:nvSpPr>
            <p:cNvPr id="9" name="CuadroTexto 8"/>
            <p:cNvSpPr txBox="1"/>
            <p:nvPr/>
          </p:nvSpPr>
          <p:spPr>
            <a:xfrm>
              <a:off x="6641796" y="2127966"/>
              <a:ext cx="4241328" cy="21358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ECOMENDACIONES</a:t>
              </a:r>
            </a:p>
            <a:p>
              <a:endParaRPr lang="es-MX" dirty="0" smtClean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s-MX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OLAS MQ 2DO NODO IBM</a:t>
              </a:r>
              <a:endParaRPr lang="es-MX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s-MX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BIR A QA LOS SP’S </a:t>
              </a:r>
            </a:p>
            <a:p>
              <a:r>
                <a:rPr lang="es-MX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EVISAR EL CHECKLIST EN JULIO 12FACTOR</a:t>
              </a:r>
            </a:p>
            <a:p>
              <a:r>
                <a:rPr lang="es-MX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LIBRERIAS EN NEXUS MICROS DE INTERFASE</a:t>
              </a:r>
            </a:p>
            <a:p>
              <a:endParaRPr lang="es-MX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s-MX" sz="1400" dirty="0"/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s-MX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45070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redondeado 4"/>
          <p:cNvSpPr/>
          <p:nvPr/>
        </p:nvSpPr>
        <p:spPr>
          <a:xfrm>
            <a:off x="1425527" y="1340995"/>
            <a:ext cx="3275764" cy="519191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schemeClr val="accent4">
                    <a:lumMod val="75000"/>
                  </a:schemeClr>
                </a:solidFill>
              </a:rPr>
              <a:t>Propuesta </a:t>
            </a:r>
            <a:r>
              <a:rPr lang="es-MX" b="1" dirty="0">
                <a:solidFill>
                  <a:schemeClr val="accent4">
                    <a:lumMod val="75000"/>
                  </a:schemeClr>
                </a:solidFill>
              </a:rPr>
              <a:t>Económica</a:t>
            </a:r>
            <a:endParaRPr lang="es-EC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cxnSp>
        <p:nvCxnSpPr>
          <p:cNvPr id="6" name="71 Conector recto"/>
          <p:cNvCxnSpPr/>
          <p:nvPr/>
        </p:nvCxnSpPr>
        <p:spPr>
          <a:xfrm flipH="1">
            <a:off x="5541815" y="1406634"/>
            <a:ext cx="83128" cy="3869353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o 6"/>
          <p:cNvGrpSpPr/>
          <p:nvPr/>
        </p:nvGrpSpPr>
        <p:grpSpPr>
          <a:xfrm>
            <a:off x="6283208" y="1764243"/>
            <a:ext cx="5189392" cy="3173271"/>
            <a:chOff x="6327498" y="1983696"/>
            <a:chExt cx="4555626" cy="2752691"/>
          </a:xfrm>
        </p:grpSpPr>
        <p:grpSp>
          <p:nvGrpSpPr>
            <p:cNvPr id="8" name="Grupo 7"/>
            <p:cNvGrpSpPr/>
            <p:nvPr/>
          </p:nvGrpSpPr>
          <p:grpSpPr>
            <a:xfrm>
              <a:off x="6327498" y="1983696"/>
              <a:ext cx="4305006" cy="2752691"/>
              <a:chOff x="1115889" y="2394024"/>
              <a:chExt cx="4305006" cy="2827600"/>
            </a:xfrm>
          </p:grpSpPr>
          <p:sp>
            <p:nvSpPr>
              <p:cNvPr id="10" name="Rectángulo redondeado 9"/>
              <p:cNvSpPr/>
              <p:nvPr/>
            </p:nvSpPr>
            <p:spPr>
              <a:xfrm>
                <a:off x="1115889" y="2465185"/>
                <a:ext cx="4176464" cy="2756439"/>
              </a:xfrm>
              <a:prstGeom prst="roundRect">
                <a:avLst/>
              </a:prstGeom>
              <a:ln>
                <a:solidFill>
                  <a:srgbClr val="17B498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C" sz="1600"/>
              </a:p>
            </p:txBody>
          </p:sp>
          <p:sp>
            <p:nvSpPr>
              <p:cNvPr id="11" name="Rectángulo redondeado 10"/>
              <p:cNvSpPr/>
              <p:nvPr/>
            </p:nvSpPr>
            <p:spPr>
              <a:xfrm>
                <a:off x="1214148" y="2394024"/>
                <a:ext cx="4206747" cy="2736305"/>
              </a:xfrm>
              <a:prstGeom prst="round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C" sz="1600"/>
              </a:p>
            </p:txBody>
          </p:sp>
        </p:grpSp>
        <p:sp>
          <p:nvSpPr>
            <p:cNvPr id="9" name="CuadroTexto 8"/>
            <p:cNvSpPr txBox="1"/>
            <p:nvPr/>
          </p:nvSpPr>
          <p:spPr>
            <a:xfrm>
              <a:off x="6641796" y="2744904"/>
              <a:ext cx="4241328" cy="11747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olicitar </a:t>
              </a:r>
              <a:r>
                <a:rPr lang="es-MX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probación Extra Presupuesto de la Propuesta del esquema de recaudaciones de Arquitectura Abierta a la Administración.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s-MX" sz="1400" dirty="0"/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s-MX" sz="1400" dirty="0"/>
            </a:p>
          </p:txBody>
        </p:sp>
      </p:grpSp>
      <p:pic>
        <p:nvPicPr>
          <p:cNvPr id="12" name="Imagen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5527" y="2190505"/>
            <a:ext cx="3275764" cy="3216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029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1251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.328jQUu5gaLvokJl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ASTgV4o0mXxQyqKggT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rN_XP.dkKo.4ZHkmZy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zSGqeHZUi4M60SXYhn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uo5mZXOU.g.RdKo8ae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PvYHupaU6PiQXdglVm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q7vXbgkmjFhxnnF02s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77D21EA6EEE774BA0B3304BAB5B0202" ma:contentTypeVersion="13" ma:contentTypeDescription="Crear nuevo documento." ma:contentTypeScope="" ma:versionID="b4e84321185957649b32dbc986801ae8">
  <xsd:schema xmlns:xsd="http://www.w3.org/2001/XMLSchema" xmlns:xs="http://www.w3.org/2001/XMLSchema" xmlns:p="http://schemas.microsoft.com/office/2006/metadata/properties" xmlns:ns3="6026327b-c314-4909-befc-a4a98577181e" xmlns:ns4="b6e5a916-dccc-4b33-8fba-9c21ee045b9d" targetNamespace="http://schemas.microsoft.com/office/2006/metadata/properties" ma:root="true" ma:fieldsID="52216005ab9ececd4be048d36868afc4" ns3:_="" ns4:_="">
    <xsd:import namespace="6026327b-c314-4909-befc-a4a98577181e"/>
    <xsd:import namespace="b6e5a916-dccc-4b33-8fba-9c21ee045b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26327b-c314-4909-befc-a4a9857718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e5a916-dccc-4b33-8fba-9c21ee045b9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972E9C-C7AA-4DB6-BC11-4FDD914B8974}">
  <ds:schemaRefs>
    <ds:schemaRef ds:uri="b6e5a916-dccc-4b33-8fba-9c21ee045b9d"/>
    <ds:schemaRef ds:uri="http://schemas.microsoft.com/office/2006/metadata/properties"/>
    <ds:schemaRef ds:uri="http://schemas.microsoft.com/office/2006/documentManagement/types"/>
    <ds:schemaRef ds:uri="6026327b-c314-4909-befc-a4a98577181e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purl.org/dc/dcmitype/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BD62808-B15F-4CD1-9EFD-18084AEE33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6A54D7E-5C44-4F1D-A8E3-535274B23E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26327b-c314-4909-befc-a4a98577181e"/>
    <ds:schemaRef ds:uri="b6e5a916-dccc-4b33-8fba-9c21ee045b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0</TotalTime>
  <Words>410</Words>
  <Application>Microsoft Office PowerPoint</Application>
  <PresentationFormat>Panorámica</PresentationFormat>
  <Paragraphs>72</Paragraphs>
  <Slides>9</Slides>
  <Notes>0</Notes>
  <HiddenSlides>2</HiddenSlides>
  <MMClips>0</MMClips>
  <ScaleCrop>false</ScaleCrop>
  <HeadingPairs>
    <vt:vector size="6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20" baseType="lpstr">
      <vt:lpstr>Arial</vt:lpstr>
      <vt:lpstr>Arial Unicode MS</vt:lpstr>
      <vt:lpstr>Calibri</vt:lpstr>
      <vt:lpstr>Calibri Light</vt:lpstr>
      <vt:lpstr>Gill Sans</vt:lpstr>
      <vt:lpstr>Impact</vt:lpstr>
      <vt:lpstr>Roboto Slab</vt:lpstr>
      <vt:lpstr>Telefonica Headline Light</vt:lpstr>
      <vt:lpstr>Wingdings</vt:lpstr>
      <vt:lpstr>ヒラギノ角ゴ ProN W3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talina Lara</dc:creator>
  <cp:lastModifiedBy>Jonathan  Guerrero Jijon</cp:lastModifiedBy>
  <cp:revision>13</cp:revision>
  <dcterms:created xsi:type="dcterms:W3CDTF">2022-05-09T18:20:01Z</dcterms:created>
  <dcterms:modified xsi:type="dcterms:W3CDTF">2022-05-30T19:3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7D21EA6EEE774BA0B3304BAB5B0202</vt:lpwstr>
  </property>
</Properties>
</file>